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5" r:id="rId4"/>
  </p:sldMasterIdLst>
  <p:notesMasterIdLst>
    <p:notesMasterId r:id="rId6"/>
  </p:notesMasterIdLst>
  <p:handoutMasterIdLst>
    <p:handoutMasterId r:id="rId7"/>
  </p:handoutMasterIdLst>
  <p:sldIdLst>
    <p:sldId id="263" r:id="rId5"/>
  </p:sldIdLst>
  <p:sldSz cx="5145088" cy="6429375"/>
  <p:notesSz cx="6797675" cy="9926638"/>
  <p:custDataLst>
    <p:tags r:id="rId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613" userDrawn="1">
          <p15:clr>
            <a:srgbClr val="A4A3A4"/>
          </p15:clr>
        </p15:guide>
        <p15:guide id="2" pos="160" userDrawn="1">
          <p15:clr>
            <a:srgbClr val="A4A3A4"/>
          </p15:clr>
        </p15:guide>
        <p15:guide id="3" pos="1589" userDrawn="1">
          <p15:clr>
            <a:srgbClr val="A4A3A4"/>
          </p15:clr>
        </p15:guide>
        <p15:guide id="4" pos="1652" userDrawn="1">
          <p15:clr>
            <a:srgbClr val="A4A3A4"/>
          </p15:clr>
        </p15:guide>
        <p15:guide id="6" orient="horz" pos="976" userDrawn="1">
          <p15:clr>
            <a:srgbClr val="A4A3A4"/>
          </p15:clr>
        </p15:guide>
        <p15:guide id="7" pos="308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225" autoAdjust="0"/>
    <p:restoredTop sz="94423" autoAdjust="0"/>
  </p:normalViewPr>
  <p:slideViewPr>
    <p:cSldViewPr snapToGrid="0" showGuides="1">
      <p:cViewPr varScale="1">
        <p:scale>
          <a:sx n="118" d="100"/>
          <a:sy n="118" d="100"/>
        </p:scale>
        <p:origin x="3372" y="96"/>
      </p:cViewPr>
      <p:guideLst>
        <p:guide orient="horz" pos="3613"/>
        <p:guide pos="160"/>
        <p:guide pos="1589"/>
        <p:guide pos="1652"/>
        <p:guide orient="horz" pos="976"/>
        <p:guide pos="30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75" d="100"/>
          <a:sy n="75" d="100"/>
        </p:scale>
        <p:origin x="2964" y="33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DBFC116-0A75-42B5-A04E-F8BD0D64984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9B0CF9B-D954-42B7-B17E-338E3FF69C6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D7338C-558B-4699-B3FB-1110B8EA4586}" type="datetimeFigureOut">
              <a:rPr lang="de-DE" smtClean="0"/>
              <a:t>24.02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54D72FA-85CC-4596-9FF4-9ED4A04B2BB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088BB88-0E94-40AD-91D8-222A3B335C8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7DA3FD-D6B2-4777-A342-E12BB081EB6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86936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12F3CF-33A8-431F-AD91-991887D9CE92}" type="datetimeFigureOut">
              <a:rPr lang="en-US" smtClean="0"/>
              <a:t>2/24/2025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170113" y="923925"/>
            <a:ext cx="2457450" cy="3070225"/>
          </a:xfrm>
          <a:prstGeom prst="rect">
            <a:avLst/>
          </a:prstGeom>
          <a:noFill/>
          <a:ln w="12700">
            <a:solidFill>
              <a:schemeClr val="accent3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625" y="4297189"/>
            <a:ext cx="6034426" cy="480658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4F251E-0D5E-4CFD-ACCC-9623B92A1BF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77761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800" indent="-177800" algn="l" defTabSz="685800" rtl="0" eaLnBrk="1" latinLnBrk="0" hangingPunct="1">
      <a:buClr>
        <a:schemeClr val="accent2"/>
      </a:buClr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61950" indent="-18415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9750" indent="-17780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7550" indent="-17780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95350" indent="-17780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svg"/><Relationship Id="rId4" Type="http://schemas.openxmlformats.org/officeDocument/2006/relationships/image" Target="../media/image2.png"/><Relationship Id="rId9" Type="http://schemas.openxmlformats.org/officeDocument/2006/relationships/image" Target="../media/image5.sv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svg"/><Relationship Id="rId4" Type="http://schemas.openxmlformats.org/officeDocument/2006/relationships/image" Target="../media/image2.png"/><Relationship Id="rId9" Type="http://schemas.openxmlformats.org/officeDocument/2006/relationships/image" Target="../media/image7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HK Presse-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1929882A-2682-C6E6-F570-FB9D3F29B04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794" y="0"/>
            <a:ext cx="5143500" cy="6429375"/>
          </a:xfrm>
          <a:prstGeom prst="rect">
            <a:avLst/>
          </a:prstGeom>
        </p:spPr>
      </p:pic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0585887-5354-4619-B8E0-1257B891C6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2056779"/>
              </p:ext>
            </p:extLst>
          </p:nvPr>
        </p:nvGraphicFramePr>
        <p:xfrm>
          <a:off x="893" y="1985"/>
          <a:ext cx="894" cy="1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0585887-5354-4619-B8E0-1257B891C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893" y="1985"/>
                        <a:ext cx="894" cy="19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9DF530B-BD3D-4D3E-BA02-DBFD828B3E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89324" cy="1984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6138B1F-B0D8-4BB9-A504-E08198FF2FD4}"/>
              </a:ext>
            </a:extLst>
          </p:cNvPr>
          <p:cNvGrpSpPr/>
          <p:nvPr userDrawn="1"/>
        </p:nvGrpSpPr>
        <p:grpSpPr>
          <a:xfrm>
            <a:off x="-154979" y="-321469"/>
            <a:ext cx="5455045" cy="7072313"/>
            <a:chOff x="-275432" y="-257175"/>
            <a:chExt cx="9694864" cy="5657850"/>
          </a:xfrm>
        </p:grpSpPr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4F316D8C-A578-4194-8E21-6CF5678893BC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461DAEAA-10E9-4839-BA44-9042868A1350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645002F7-5ADE-4427-B133-AFD1A4504BD4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74AC1238-89EA-418F-8977-55F0FD702989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EBBB4E1-427F-4D8E-A0DF-1FBB6E124E9A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7A19E380-0298-4D2C-BF8B-4EB2D8453143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B4CC1DAC-B49E-4C98-8178-5D98D48125B2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84B42F25-70F2-46FE-A4FA-23A03BFBA076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4C1ADEEC-7D82-4273-B29C-F358247BA34B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BF8E259C-F62C-45B1-ACE0-F81FF4BCAA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r Verbinder 36">
                <a:extLst>
                  <a:ext uri="{FF2B5EF4-FFF2-40B4-BE49-F238E27FC236}">
                    <a16:creationId xmlns:a16="http://schemas.microsoft.com/office/drawing/2014/main" id="{167A3613-EA95-431D-9D75-8AFC8DECEE8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336190D3-1001-454A-BF3C-31BEE518B9C1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F98F90D7-8D2F-432C-B54A-A0CD3A7718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5B48D6B4-7165-4AF1-B671-4BDCDA2FED8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" name="Grafik 1">
            <a:extLst>
              <a:ext uri="{FF2B5EF4-FFF2-40B4-BE49-F238E27FC236}">
                <a16:creationId xmlns:a16="http://schemas.microsoft.com/office/drawing/2014/main" id="{5944ABC0-70C5-815E-CB91-7102B30A432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57828" y="5914220"/>
            <a:ext cx="670560" cy="335280"/>
          </a:xfrm>
          <a:prstGeom prst="rect">
            <a:avLst/>
          </a:prstGeom>
        </p:spPr>
      </p:pic>
      <p:sp>
        <p:nvSpPr>
          <p:cNvPr id="6" name="Bildplatzhalter 11">
            <a:extLst>
              <a:ext uri="{FF2B5EF4-FFF2-40B4-BE49-F238E27FC236}">
                <a16:creationId xmlns:a16="http://schemas.microsoft.com/office/drawing/2014/main" id="{C5D5B9E5-AA64-35E5-7BA0-A23A7CB6CD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54979" y="3477798"/>
            <a:ext cx="2269734" cy="2269734"/>
          </a:xfrm>
          <a:prstGeom prst="ellipse">
            <a:avLst/>
          </a:prstGeo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/>
              <a:t>Hier 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7228009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HK Presse-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E191D554-DA52-3B8D-E85A-4D7CF312A17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794" y="0"/>
            <a:ext cx="5143500" cy="6429375"/>
          </a:xfrm>
          <a:prstGeom prst="rect">
            <a:avLst/>
          </a:prstGeom>
        </p:spPr>
      </p:pic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0585887-5354-4619-B8E0-1257B891C6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2056779"/>
              </p:ext>
            </p:extLst>
          </p:nvPr>
        </p:nvGraphicFramePr>
        <p:xfrm>
          <a:off x="893" y="1985"/>
          <a:ext cx="894" cy="1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0585887-5354-4619-B8E0-1257B891C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893" y="1985"/>
                        <a:ext cx="894" cy="19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9DF530B-BD3D-4D3E-BA02-DBFD828B3E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89324" cy="1984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6138B1F-B0D8-4BB9-A504-E08198FF2FD4}"/>
              </a:ext>
            </a:extLst>
          </p:cNvPr>
          <p:cNvGrpSpPr/>
          <p:nvPr userDrawn="1"/>
        </p:nvGrpSpPr>
        <p:grpSpPr>
          <a:xfrm>
            <a:off x="-154979" y="-321469"/>
            <a:ext cx="5455045" cy="7072313"/>
            <a:chOff x="-275432" y="-257175"/>
            <a:chExt cx="9694864" cy="5657850"/>
          </a:xfrm>
        </p:grpSpPr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4F316D8C-A578-4194-8E21-6CF5678893BC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461DAEAA-10E9-4839-BA44-9042868A1350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645002F7-5ADE-4427-B133-AFD1A4504BD4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74AC1238-89EA-418F-8977-55F0FD702989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EBBB4E1-427F-4D8E-A0DF-1FBB6E124E9A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7A19E380-0298-4D2C-BF8B-4EB2D8453143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B4CC1DAC-B49E-4C98-8178-5D98D48125B2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84B42F25-70F2-46FE-A4FA-23A03BFBA076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4C1ADEEC-7D82-4273-B29C-F358247BA34B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BF8E259C-F62C-45B1-ACE0-F81FF4BCAA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r Verbinder 36">
                <a:extLst>
                  <a:ext uri="{FF2B5EF4-FFF2-40B4-BE49-F238E27FC236}">
                    <a16:creationId xmlns:a16="http://schemas.microsoft.com/office/drawing/2014/main" id="{167A3613-EA95-431D-9D75-8AFC8DECEE8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336190D3-1001-454A-BF3C-31BEE518B9C1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F98F90D7-8D2F-432C-B54A-A0CD3A7718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5B48D6B4-7165-4AF1-B671-4BDCDA2FED8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7FE1967-7BEF-06B3-B569-6937A66F092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54979" y="3477798"/>
            <a:ext cx="2269734" cy="2269734"/>
          </a:xfrm>
          <a:prstGeom prst="ellipse">
            <a:avLst/>
          </a:prstGeo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/>
              <a:t>Hier Bild einfügen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5944ABC0-70C5-815E-CB91-7102B30A432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57828" y="5914220"/>
            <a:ext cx="670560" cy="335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1676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Relationship Id="rId9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9494226-E554-4FC7-B318-8585A96BFA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07897003"/>
              </p:ext>
            </p:extLst>
          </p:nvPr>
        </p:nvGraphicFramePr>
        <p:xfrm>
          <a:off x="670" y="1491"/>
          <a:ext cx="670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9494226-E554-4FC7-B318-8585A96BF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70" y="1491"/>
                        <a:ext cx="670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3E8200DA-6877-4A0D-B76D-424E7DEE2674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2"/>
            <a:ext cx="66994" cy="1488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3B86E61B-1555-4B54-8C51-D0C2BAEE3892}"/>
              </a:ext>
            </a:extLst>
          </p:cNvPr>
          <p:cNvGrpSpPr/>
          <p:nvPr userDrawn="1"/>
        </p:nvGrpSpPr>
        <p:grpSpPr>
          <a:xfrm>
            <a:off x="-154979" y="-321469"/>
            <a:ext cx="5455045" cy="7072313"/>
            <a:chOff x="-275432" y="-257175"/>
            <a:chExt cx="9694864" cy="5657850"/>
          </a:xfrm>
        </p:grpSpPr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DB04EBDB-6A7B-41F4-9D21-500C86167CBD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24C53E18-2E52-4A5A-BFE9-6E211A587297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46A5D2C9-8E80-4F2D-99C8-9C39CD844AC8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044A3345-E6E7-4E61-8442-D39B7168205E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31827FFE-80B9-477D-96AE-EAAD5AAE8410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B0D40870-2C76-4F71-BD42-6EFF05528E03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F4B1C61-34C8-45DA-AB77-603DA8383E83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9A6AC9FD-F403-4379-8988-3954EBD52BDF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88E6779E-0635-4B7F-803D-E85697035A83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2" name="Gerader Verbinder 31">
                <a:extLst>
                  <a:ext uri="{FF2B5EF4-FFF2-40B4-BE49-F238E27FC236}">
                    <a16:creationId xmlns:a16="http://schemas.microsoft.com/office/drawing/2014/main" id="{99D28C8A-CB08-4192-ABDD-A23FBD188DF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32">
                <a:extLst>
                  <a:ext uri="{FF2B5EF4-FFF2-40B4-BE49-F238E27FC236}">
                    <a16:creationId xmlns:a16="http://schemas.microsoft.com/office/drawing/2014/main" id="{7E377B75-8EB1-4F25-8C6A-A135AD88514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uppieren 33">
              <a:extLst>
                <a:ext uri="{FF2B5EF4-FFF2-40B4-BE49-F238E27FC236}">
                  <a16:creationId xmlns:a16="http://schemas.microsoft.com/office/drawing/2014/main" id="{3A6A6AF1-A6BE-4274-B88F-8252F09C734B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2ECDE6AF-4A10-46FF-B72E-92A482B3035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0BD9BC89-0BDB-4EBC-BE38-E58CB965319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3" name="Grafik 2">
            <a:extLst>
              <a:ext uri="{FF2B5EF4-FFF2-40B4-BE49-F238E27FC236}">
                <a16:creationId xmlns:a16="http://schemas.microsoft.com/office/drawing/2014/main" id="{ADD313AF-D8EB-29A3-BB94-3B363F46E93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794" y="0"/>
            <a:ext cx="5143500" cy="6429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623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</p:sldLayoutIdLst>
  <p:hf sldNum="0" hdr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58775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39750" indent="-180975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898525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59" userDrawn="1">
          <p15:clr>
            <a:srgbClr val="F26B43"/>
          </p15:clr>
        </p15:guide>
        <p15:guide id="2" pos="1589" userDrawn="1">
          <p15:clr>
            <a:srgbClr val="F26B43"/>
          </p15:clr>
        </p15:guide>
        <p15:guide id="3" pos="1652" userDrawn="1">
          <p15:clr>
            <a:srgbClr val="F26B43"/>
          </p15:clr>
        </p15:guide>
        <p15:guide id="4" pos="3081" userDrawn="1">
          <p15:clr>
            <a:srgbClr val="F26B43"/>
          </p15:clr>
        </p15:guide>
        <p15:guide id="5" orient="horz" pos="976" userDrawn="1">
          <p15:clr>
            <a:srgbClr val="F26B43"/>
          </p15:clr>
        </p15:guide>
        <p15:guide id="6" orient="horz" pos="361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8">
            <a:extLst>
              <a:ext uri="{FF2B5EF4-FFF2-40B4-BE49-F238E27FC236}">
                <a16:creationId xmlns:a16="http://schemas.microsoft.com/office/drawing/2014/main" id="{A3CDD64F-5311-9982-33C5-3CB006F92F63}"/>
              </a:ext>
            </a:extLst>
          </p:cNvPr>
          <p:cNvSpPr txBox="1">
            <a:spLocks noChangeAspect="1"/>
          </p:cNvSpPr>
          <p:nvPr/>
        </p:nvSpPr>
        <p:spPr>
          <a:xfrm>
            <a:off x="589417" y="769966"/>
            <a:ext cx="4059275" cy="24447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200" b="1" noProof="1">
                <a:solidFill>
                  <a:schemeClr val="tx2"/>
                </a:solidFill>
                <a:latin typeface="Arial" panose="020B0604020202020204" pitchFamily="34" charset="0"/>
                <a:ea typeface="Source Sans Pro SemiBold" panose="020B0503030403020204" pitchFamily="34" charset="0"/>
                <a:cs typeface="Arial" panose="020B0604020202020204" pitchFamily="34" charset="0"/>
              </a:rPr>
              <a:t>	 Lorem ipsum dolor sit </a:t>
            </a:r>
          </a:p>
          <a:p>
            <a:r>
              <a:rPr lang="de-DE" sz="2200" b="1" noProof="1">
                <a:solidFill>
                  <a:schemeClr val="tx2"/>
                </a:solidFill>
                <a:latin typeface="Arial" panose="020B0604020202020204" pitchFamily="34" charset="0"/>
                <a:ea typeface="Source Sans Pro SemiBold" panose="020B0503030403020204" pitchFamily="34" charset="0"/>
                <a:cs typeface="Arial" panose="020B0604020202020204" pitchFamily="34" charset="0"/>
              </a:rPr>
              <a:t>	 amet, consetetur sadipscing elitr, sed diam nonumy eirmod tempor invidunt ut labore et dolore magna aliquyam erat, sed diam voluptua.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67DEEF31-6C08-F7A0-294A-4AE7FD842B7F}"/>
              </a:ext>
            </a:extLst>
          </p:cNvPr>
          <p:cNvSpPr txBox="1"/>
          <p:nvPr/>
        </p:nvSpPr>
        <p:spPr>
          <a:xfrm rot="16200000">
            <a:off x="3536291" y="1379396"/>
            <a:ext cx="297423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de-DE" sz="800" b="0" dirty="0">
                <a:solidFill>
                  <a:srgbClr val="9A9A9A"/>
                </a:solidFill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Foto © Quelle</a:t>
            </a:r>
            <a:endParaRPr lang="de-DE" sz="800" dirty="0">
              <a:solidFill>
                <a:srgbClr val="9A9A9A"/>
              </a:solidFill>
              <a:latin typeface="Arial" panose="020B0604020202020204" pitchFamily="34" charset="0"/>
              <a:ea typeface="Source Sans Pro" panose="020B0503030403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Grafik 7">
            <a:extLst>
              <a:ext uri="{FF2B5EF4-FFF2-40B4-BE49-F238E27FC236}">
                <a16:creationId xmlns:a16="http://schemas.microsoft.com/office/drawing/2014/main" id="{2C14A8B0-57E7-8CFF-C711-5422D1A055A4}"/>
              </a:ext>
            </a:extLst>
          </p:cNvPr>
          <p:cNvSpPr/>
          <p:nvPr/>
        </p:nvSpPr>
        <p:spPr>
          <a:xfrm>
            <a:off x="589418" y="838335"/>
            <a:ext cx="600892" cy="556318"/>
          </a:xfrm>
          <a:custGeom>
            <a:avLst/>
            <a:gdLst>
              <a:gd name="connsiteX0" fmla="*/ 0 w 1279849"/>
              <a:gd name="connsiteY0" fmla="*/ 612458 h 1184910"/>
              <a:gd name="connsiteX1" fmla="*/ 236587 w 1279849"/>
              <a:gd name="connsiteY1" fmla="*/ 612458 h 1184910"/>
              <a:gd name="connsiteX2" fmla="*/ 0 w 1279849"/>
              <a:gd name="connsiteY2" fmla="*/ 922020 h 1184910"/>
              <a:gd name="connsiteX3" fmla="*/ 0 w 1279849"/>
              <a:gd name="connsiteY3" fmla="*/ 1184910 h 1184910"/>
              <a:gd name="connsiteX4" fmla="*/ 521631 w 1279849"/>
              <a:gd name="connsiteY4" fmla="*/ 546735 h 1184910"/>
              <a:gd name="connsiteX5" fmla="*/ 521631 w 1279849"/>
              <a:gd name="connsiteY5" fmla="*/ 0 h 1184910"/>
              <a:gd name="connsiteX6" fmla="*/ 0 w 1279849"/>
              <a:gd name="connsiteY6" fmla="*/ 0 h 1184910"/>
              <a:gd name="connsiteX7" fmla="*/ 0 w 1279849"/>
              <a:gd name="connsiteY7" fmla="*/ 612458 h 1184910"/>
              <a:gd name="connsiteX8" fmla="*/ 758218 w 1279849"/>
              <a:gd name="connsiteY8" fmla="*/ 612458 h 1184910"/>
              <a:gd name="connsiteX9" fmla="*/ 994805 w 1279849"/>
              <a:gd name="connsiteY9" fmla="*/ 612458 h 1184910"/>
              <a:gd name="connsiteX10" fmla="*/ 758218 w 1279849"/>
              <a:gd name="connsiteY10" fmla="*/ 922020 h 1184910"/>
              <a:gd name="connsiteX11" fmla="*/ 758218 w 1279849"/>
              <a:gd name="connsiteY11" fmla="*/ 1184910 h 1184910"/>
              <a:gd name="connsiteX12" fmla="*/ 1279850 w 1279849"/>
              <a:gd name="connsiteY12" fmla="*/ 546735 h 1184910"/>
              <a:gd name="connsiteX13" fmla="*/ 1279850 w 1279849"/>
              <a:gd name="connsiteY13" fmla="*/ 0 h 1184910"/>
              <a:gd name="connsiteX14" fmla="*/ 758218 w 1279849"/>
              <a:gd name="connsiteY14" fmla="*/ 0 h 1184910"/>
              <a:gd name="connsiteX15" fmla="*/ 758218 w 1279849"/>
              <a:gd name="connsiteY15" fmla="*/ 612458 h 1184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79849" h="1184910">
                <a:moveTo>
                  <a:pt x="0" y="612458"/>
                </a:moveTo>
                <a:lnTo>
                  <a:pt x="236587" y="612458"/>
                </a:lnTo>
                <a:cubicBezTo>
                  <a:pt x="246088" y="763905"/>
                  <a:pt x="144423" y="895350"/>
                  <a:pt x="0" y="922020"/>
                </a:cubicBezTo>
                <a:lnTo>
                  <a:pt x="0" y="1184910"/>
                </a:lnTo>
                <a:cubicBezTo>
                  <a:pt x="358206" y="1125855"/>
                  <a:pt x="518781" y="875348"/>
                  <a:pt x="521631" y="546735"/>
                </a:cubicBezTo>
                <a:lnTo>
                  <a:pt x="521631" y="0"/>
                </a:lnTo>
                <a:lnTo>
                  <a:pt x="0" y="0"/>
                </a:lnTo>
                <a:lnTo>
                  <a:pt x="0" y="612458"/>
                </a:lnTo>
                <a:close/>
                <a:moveTo>
                  <a:pt x="758218" y="612458"/>
                </a:moveTo>
                <a:lnTo>
                  <a:pt x="994805" y="612458"/>
                </a:lnTo>
                <a:cubicBezTo>
                  <a:pt x="1004307" y="763905"/>
                  <a:pt x="902641" y="895350"/>
                  <a:pt x="758218" y="922020"/>
                </a:cubicBezTo>
                <a:lnTo>
                  <a:pt x="758218" y="1184910"/>
                </a:lnTo>
                <a:cubicBezTo>
                  <a:pt x="1116424" y="1125855"/>
                  <a:pt x="1276999" y="875348"/>
                  <a:pt x="1279850" y="546735"/>
                </a:cubicBezTo>
                <a:lnTo>
                  <a:pt x="1279850" y="0"/>
                </a:lnTo>
                <a:lnTo>
                  <a:pt x="758218" y="0"/>
                </a:lnTo>
                <a:lnTo>
                  <a:pt x="758218" y="612458"/>
                </a:lnTo>
                <a:close/>
              </a:path>
            </a:pathLst>
          </a:custGeom>
          <a:solidFill>
            <a:srgbClr val="009ED4"/>
          </a:solidFill>
          <a:ln w="9454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1" name="Titelplatzhalter 18">
            <a:extLst>
              <a:ext uri="{FF2B5EF4-FFF2-40B4-BE49-F238E27FC236}">
                <a16:creationId xmlns:a16="http://schemas.microsoft.com/office/drawing/2014/main" id="{0C6BD8D1-0F71-F18E-52BB-5B89CFA7ACF2}"/>
              </a:ext>
            </a:extLst>
          </p:cNvPr>
          <p:cNvSpPr txBox="1">
            <a:spLocks/>
          </p:cNvSpPr>
          <p:nvPr/>
        </p:nvSpPr>
        <p:spPr>
          <a:xfrm>
            <a:off x="2286561" y="3977440"/>
            <a:ext cx="2506039" cy="9909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000" b="1" noProof="1">
                <a:solidFill>
                  <a:schemeClr val="accent2"/>
                </a:solidFill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Name</a:t>
            </a:r>
          </a:p>
          <a:p>
            <a:r>
              <a:rPr lang="de-DE" sz="2000" noProof="1">
                <a:solidFill>
                  <a:schemeClr val="accent2"/>
                </a:solidFill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Titel</a:t>
            </a:r>
          </a:p>
        </p:txBody>
      </p:sp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7996A8CB-F8D0-6C06-BCB1-3148BA3A9B0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l="5541" r="5541"/>
          <a:stretch/>
        </p:blipFill>
        <p:spPr>
          <a:xfrm>
            <a:off x="-154979" y="3279326"/>
            <a:ext cx="2269734" cy="2269734"/>
          </a:xfrm>
        </p:spPr>
      </p:pic>
    </p:spTree>
    <p:extLst>
      <p:ext uri="{BB962C8B-B14F-4D97-AF65-F5344CB8AC3E}">
        <p14:creationId xmlns:p14="http://schemas.microsoft.com/office/powerpoint/2010/main" val="27051534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ZroOkhcWrdmzHqHrIk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qwZ8pPPkahoDuWymMX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qwZ8pPPkahoDuWymMXjg"/>
</p:tagLst>
</file>

<file path=ppt/theme/theme1.xml><?xml version="1.0" encoding="utf-8"?>
<a:theme xmlns:a="http://schemas.openxmlformats.org/drawingml/2006/main" name="BIHK Presse-Zitat">
  <a:themeElements>
    <a:clrScheme name="IHK_Farben">
      <a:dk1>
        <a:sysClr val="windowText" lastClr="000000"/>
      </a:dk1>
      <a:lt1>
        <a:sysClr val="window" lastClr="FFFFFF"/>
      </a:lt1>
      <a:dk2>
        <a:srgbClr val="58585A"/>
      </a:dk2>
      <a:lt2>
        <a:srgbClr val="EEEEEE"/>
      </a:lt2>
      <a:accent1>
        <a:srgbClr val="003366"/>
      </a:accent1>
      <a:accent2>
        <a:srgbClr val="009ED4"/>
      </a:accent2>
      <a:accent3>
        <a:srgbClr val="B1B3B4"/>
      </a:accent3>
      <a:accent4>
        <a:srgbClr val="FFCE00"/>
      </a:accent4>
      <a:accent5>
        <a:srgbClr val="7EC8EC"/>
      </a:accent5>
      <a:accent6>
        <a:srgbClr val="F0821A"/>
      </a:accent6>
      <a:hlink>
        <a:srgbClr val="003366"/>
      </a:hlink>
      <a:folHlink>
        <a:srgbClr val="009ED4"/>
      </a:folHlink>
    </a:clrScheme>
    <a:fontScheme name="IHK_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108000" tIns="72000" rIns="108000" bIns="72000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B3B2B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600" dirty="0" err="1" smtClean="0"/>
        </a:defPPr>
      </a:lstStyle>
    </a:txDef>
  </a:objectDefaults>
  <a:extraClrSchemeLst/>
  <a:custClrLst>
    <a:custClr name="Titan 100%">
      <a:srgbClr val="575756"/>
    </a:custClr>
    <a:custClr name="Titan 80%">
      <a:srgbClr val="797978"/>
    </a:custClr>
    <a:custClr name="Titan 70%">
      <a:srgbClr val="8A8A89"/>
    </a:custClr>
    <a:custClr name="Titan 60%">
      <a:srgbClr val="9A9A9A"/>
    </a:custClr>
    <a:custClr name="Titan 50%">
      <a:srgbClr val="ABABAA"/>
    </a:custClr>
    <a:custClr name="Titan 40%">
      <a:srgbClr val="BCBCBB"/>
    </a:custClr>
    <a:custClr name="Titan 30%">
      <a:srgbClr val="CCCCCC"/>
    </a:custClr>
    <a:custClr name="Titan 20%">
      <a:srgbClr val="DDDDDD"/>
    </a:custClr>
    <a:custClr name="Titan 10%">
      <a:srgbClr val="EEEEEE"/>
    </a:custClr>
    <a:custClr name="White">
      <a:srgbClr val="FFFFFF"/>
    </a:custClr>
    <a:custClr name="Sky 100%">
      <a:srgbClr val="009ED4"/>
    </a:custClr>
    <a:custClr name="Sky 80%">
      <a:srgbClr val="33B1DD"/>
    </a:custClr>
    <a:custClr name="Sky 70%">
      <a:srgbClr val="4DBBE1"/>
    </a:custClr>
    <a:custClr name="Sky 60%">
      <a:srgbClr val="66C5E5"/>
    </a:custClr>
    <a:custClr name="Sky 50%">
      <a:srgbClr val="7FCEE9"/>
    </a:custClr>
    <a:custClr name="Sky 40%">
      <a:srgbClr val="99D8EE"/>
    </a:custClr>
    <a:custClr name="Sky 30%">
      <a:srgbClr val="B2E2F2"/>
    </a:custClr>
    <a:custClr name="Sky 20%">
      <a:srgbClr val="CCECF6"/>
    </a:custClr>
    <a:custClr name="Sky 10%">
      <a:srgbClr val="E5F5FB"/>
    </a:custClr>
    <a:custClr name="White">
      <a:srgbClr val="FFFFFF"/>
    </a:custClr>
    <a:custClr name="Ocean">
      <a:srgbClr val="003366"/>
    </a:custClr>
    <a:custClr name="Lime">
      <a:srgbClr val="76B82A"/>
    </a:custClr>
    <a:custClr name="Hibiskus">
      <a:srgbClr val="E40D2E"/>
    </a:custClr>
    <a:custClr name="Mauve">
      <a:srgbClr val="9F5098"/>
    </a:custClr>
    <a:custClr name="Mandarin">
      <a:srgbClr val="F0821A"/>
    </a:custClr>
    <a:custClr name="Sun">
      <a:srgbClr val="FFCE00"/>
    </a:custClr>
    <a:custClr name="Stone">
      <a:srgbClr val="B1B3B4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IHK_PPT-Template" id="{787B45A7-4684-4B2A-BE69-B785DDA374B8}" vid="{613B815C-7FA6-4395-AC25-FA10C12BB2AF}"/>
    </a:ext>
  </a:extLst>
</a:theme>
</file>

<file path=ppt/theme/theme2.xml><?xml version="1.0" encoding="utf-8"?>
<a:theme xmlns:a="http://schemas.openxmlformats.org/drawingml/2006/main" name="Office">
  <a:themeElements>
    <a:clrScheme name="IHK_Farben">
      <a:dk1>
        <a:sysClr val="windowText" lastClr="000000"/>
      </a:dk1>
      <a:lt1>
        <a:sysClr val="window" lastClr="FFFFFF"/>
      </a:lt1>
      <a:dk2>
        <a:srgbClr val="58585A"/>
      </a:dk2>
      <a:lt2>
        <a:srgbClr val="EEEEEE"/>
      </a:lt2>
      <a:accent1>
        <a:srgbClr val="003366"/>
      </a:accent1>
      <a:accent2>
        <a:srgbClr val="009ED4"/>
      </a:accent2>
      <a:accent3>
        <a:srgbClr val="B1B3B4"/>
      </a:accent3>
      <a:accent4>
        <a:srgbClr val="FFCE00"/>
      </a:accent4>
      <a:accent5>
        <a:srgbClr val="7EC8EC"/>
      </a:accent5>
      <a:accent6>
        <a:srgbClr val="F0821A"/>
      </a:accent6>
      <a:hlink>
        <a:srgbClr val="003366"/>
      </a:hlink>
      <a:folHlink>
        <a:srgbClr val="009ED4"/>
      </a:folHlink>
    </a:clrScheme>
    <a:fontScheme name="IHK_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IHK_Farben">
      <a:dk1>
        <a:sysClr val="windowText" lastClr="000000"/>
      </a:dk1>
      <a:lt1>
        <a:sysClr val="window" lastClr="FFFFFF"/>
      </a:lt1>
      <a:dk2>
        <a:srgbClr val="58585A"/>
      </a:dk2>
      <a:lt2>
        <a:srgbClr val="EEEEEE"/>
      </a:lt2>
      <a:accent1>
        <a:srgbClr val="003366"/>
      </a:accent1>
      <a:accent2>
        <a:srgbClr val="009ED4"/>
      </a:accent2>
      <a:accent3>
        <a:srgbClr val="B1B3B4"/>
      </a:accent3>
      <a:accent4>
        <a:srgbClr val="FFCE00"/>
      </a:accent4>
      <a:accent5>
        <a:srgbClr val="7EC8EC"/>
      </a:accent5>
      <a:accent6>
        <a:srgbClr val="F0821A"/>
      </a:accent6>
      <a:hlink>
        <a:srgbClr val="003366"/>
      </a:hlink>
      <a:folHlink>
        <a:srgbClr val="009ED4"/>
      </a:folHlink>
    </a:clrScheme>
    <a:fontScheme name="IHK_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lcf76f155ced4ddcb4097134ff3c332f xmlns="a04dc6fb-b7f1-4703-aa16-3aaf5a84df0f">
      <Terms xmlns="http://schemas.microsoft.com/office/infopath/2007/PartnerControls"/>
    </lcf76f155ced4ddcb4097134ff3c332f>
    <TaxCatchAll xmlns="7055c22d-a8fe-4eff-a0e9-a5abd381db3c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37D5C4606E6754A85FF17C944E6CC99" ma:contentTypeVersion="17" ma:contentTypeDescription="Ein neues Dokument erstellen." ma:contentTypeScope="" ma:versionID="811042f0ab363d3520bdfbb34aadc5ff">
  <xsd:schema xmlns:xsd="http://www.w3.org/2001/XMLSchema" xmlns:xs="http://www.w3.org/2001/XMLSchema" xmlns:p="http://schemas.microsoft.com/office/2006/metadata/properties" xmlns:ns1="http://schemas.microsoft.com/sharepoint/v3" xmlns:ns2="a04dc6fb-b7f1-4703-aa16-3aaf5a84df0f" xmlns:ns3="7055c22d-a8fe-4eff-a0e9-a5abd381db3c" targetNamespace="http://schemas.microsoft.com/office/2006/metadata/properties" ma:root="true" ma:fieldsID="f9e8bb9a352052af0db8f24576456244" ns1:_="" ns2:_="" ns3:_="">
    <xsd:import namespace="http://schemas.microsoft.com/sharepoint/v3"/>
    <xsd:import namespace="a04dc6fb-b7f1-4703-aa16-3aaf5a84df0f"/>
    <xsd:import namespace="7055c22d-a8fe-4eff-a0e9-a5abd381db3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9" nillable="true" ma:displayName="Eigenschaften der einheitlichen Compliancerichtlinie" ma:hidden="true" ma:internalName="_ip_UnifiedCompliancePolicyProperties">
      <xsd:simpleType>
        <xsd:restriction base="dms:Note"/>
      </xsd:simpleType>
    </xsd:element>
    <xsd:element name="_ip_UnifiedCompliancePolicyUIAction" ma:index="20" nillable="true" ma:displayName="UI-Aktion der einheitlichen Compliancerichtlinie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4dc6fb-b7f1-4703-aa16-3aaf5a84df0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15451bee-5533-49a1-8dd5-f30616748e5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55c22d-a8fe-4eff-a0e9-a5abd381db3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80c1e279-5997-4643-bdcd-d4c146cb2c49}" ma:internalName="TaxCatchAll" ma:showField="CatchAllData" ma:web="7055c22d-a8fe-4eff-a0e9-a5abd381db3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2FDE106-28A8-4203-B56A-A4678B13014D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a04dc6fb-b7f1-4703-aa16-3aaf5a84df0f"/>
    <ds:schemaRef ds:uri="7055c22d-a8fe-4eff-a0e9-a5abd381db3c"/>
  </ds:schemaRefs>
</ds:datastoreItem>
</file>

<file path=customXml/itemProps2.xml><?xml version="1.0" encoding="utf-8"?>
<ds:datastoreItem xmlns:ds="http://schemas.openxmlformats.org/officeDocument/2006/customXml" ds:itemID="{6C14FAC3-3CCD-46FD-9E3A-22D1E17437C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D6A96B0-9517-4BC9-8500-A7A9B16F49F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a04dc6fb-b7f1-4703-aa16-3aaf5a84df0f"/>
    <ds:schemaRef ds:uri="7055c22d-a8fe-4eff-a0e9-a5abd381db3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HK_PPT-Template</Template>
  <TotalTime>0</TotalTime>
  <Words>37</Words>
  <Application>Microsoft Office PowerPoint</Application>
  <PresentationFormat>Benutzerdefiniert</PresentationFormat>
  <Paragraphs>5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5" baseType="lpstr">
      <vt:lpstr>Arial</vt:lpstr>
      <vt:lpstr>Wingdings</vt:lpstr>
      <vt:lpstr>BIHK Presse-Zitat</vt:lpstr>
      <vt:lpstr>think-cell Folie</vt:lpstr>
      <vt:lpstr>PowerPoint-Präsentation</vt:lpstr>
    </vt:vector>
  </TitlesOfParts>
  <Company>IHK München und Oberbayer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usanne Kunzelmann</dc:creator>
  <cp:lastModifiedBy>Susanne Kunzelmann</cp:lastModifiedBy>
  <cp:revision>17</cp:revision>
  <cp:lastPrinted>2020-07-13T13:33:26Z</cp:lastPrinted>
  <dcterms:created xsi:type="dcterms:W3CDTF">2023-09-29T12:27:15Z</dcterms:created>
  <dcterms:modified xsi:type="dcterms:W3CDTF">2025-02-24T10:23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37D5C4606E6754A85FF17C944E6CC99</vt:lpwstr>
  </property>
  <property fmtid="{D5CDD505-2E9C-101B-9397-08002B2CF9AE}" pid="3" name="MediaServiceImageTags">
    <vt:lpwstr/>
  </property>
</Properties>
</file>